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1"/>
  </p:sldMasterIdLst>
  <p:notesMasterIdLst>
    <p:notesMasterId r:id="rId7"/>
  </p:notesMasterIdLst>
  <p:sldIdLst>
    <p:sldId id="305" r:id="rId2"/>
    <p:sldId id="301" r:id="rId3"/>
    <p:sldId id="302" r:id="rId4"/>
    <p:sldId id="303" r:id="rId5"/>
    <p:sldId id="304" r:id="rId6"/>
  </p:sldIdLst>
  <p:sldSz cx="12190413" cy="6858000"/>
  <p:notesSz cx="6797675" cy="9928225"/>
  <p:embeddedFontLst>
    <p:embeddedFont>
      <p:font typeface="PAYBACK Light" panose="02000506000000020004" pitchFamily="2" charset="0"/>
      <p:regular r:id="rId8"/>
    </p:embeddedFont>
    <p:embeddedFont>
      <p:font typeface="PAYBACK" panose="02000506000000020004" pitchFamily="2" charset="0"/>
      <p:regular r:id="rId9"/>
      <p:bold r:id="rId10"/>
    </p:embeddedFont>
    <p:embeddedFont>
      <p:font typeface="Open Sans" panose="020B0606030504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020">
          <p15:clr>
            <a:srgbClr val="A4A3A4"/>
          </p15:clr>
        </p15:guide>
        <p15:guide id="3" pos="619" userDrawn="1">
          <p15:clr>
            <a:srgbClr val="A4A3A4"/>
          </p15:clr>
        </p15:guide>
        <p15:guide id="4" pos="7060">
          <p15:clr>
            <a:srgbClr val="A4A3A4"/>
          </p15:clr>
        </p15:guide>
        <p15:guide id="5" pos="545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2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220" autoAdjust="0"/>
  </p:normalViewPr>
  <p:slideViewPr>
    <p:cSldViewPr snapToGrid="0" snapToObjects="1">
      <p:cViewPr varScale="1">
        <p:scale>
          <a:sx n="116" d="100"/>
          <a:sy n="116" d="100"/>
        </p:scale>
        <p:origin x="336" y="108"/>
      </p:cViewPr>
      <p:guideLst>
        <p:guide orient="horz" pos="845"/>
        <p:guide orient="horz" pos="4020"/>
        <p:guide pos="619"/>
        <p:guide pos="7060"/>
        <p:guide pos="5450"/>
        <p:guide pos="3840"/>
        <p:guide pos="22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4050"/>
    </p:cViewPr>
  </p:sorterViewPr>
  <p:notesViewPr>
    <p:cSldViewPr snapToGrid="0" snapToObjects="1" showGuides="1">
      <p:cViewPr varScale="1">
        <p:scale>
          <a:sx n="63" d="100"/>
          <a:sy n="63" d="100"/>
        </p:scale>
        <p:origin x="3144" y="62"/>
      </p:cViewPr>
      <p:guideLst>
        <p:guide orient="horz"/>
        <p:guide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0" y="0"/>
            <a:ext cx="6797675" cy="382587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0965" tIns="45482" rIns="90965" bIns="45482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592134" y="4763525"/>
            <a:ext cx="5927634" cy="48632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06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600"/>
      </a:spcBef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1pPr>
    <a:lvl2pPr marL="144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2pPr>
    <a:lvl3pPr marL="288000" indent="-144000" algn="l" defTabSz="914400" rtl="0" eaLnBrk="1" latinLnBrk="0" hangingPunct="1">
      <a:spcBef>
        <a:spcPts val="600"/>
      </a:spcBef>
      <a:buClr>
        <a:schemeClr val="tx1"/>
      </a:buClr>
      <a:buFont typeface="Arial" pitchFamily="34" charset="0"/>
      <a:buChar char="•"/>
      <a:defRPr sz="10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AYBACK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35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67799" y="175301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42004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7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</p:spPr>
        <p:txBody>
          <a:bodyPr lIns="0"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8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>
              <a:defRPr lang="de-DE" noProof="0" dirty="0" smtClean="0"/>
            </a:lvl3pPr>
            <a:lvl4pPr>
              <a:defRPr lang="de-DE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 dirty="0"/>
              <a:t>Präsentationskennung - über EINFÜGEN in KOPF- UND FUSSZEILE eintragen</a:t>
            </a:r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58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394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81075" y="6489032"/>
            <a:ext cx="8015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tabLst/>
              <a:defRPr sz="800" b="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pPr lvl="0"/>
            <a:r>
              <a:rPr lang="en-US" noProof="0" dirty="0"/>
              <a:t>Source/Footnote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981076" y="1736812"/>
            <a:ext cx="10226674" cy="4644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14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48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0" y="1341439"/>
            <a:ext cx="12190413" cy="504031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54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2 Tex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21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18" hasCustomPrompt="1"/>
          </p:nvPr>
        </p:nvSpPr>
        <p:spPr bwMode="gray">
          <a:xfrm>
            <a:off x="981075" y="1341439"/>
            <a:ext cx="4937125" cy="5040312"/>
          </a:xfrm>
          <a:prstGeom prst="rect">
            <a:avLst/>
          </a:prstGeom>
          <a:solidFill>
            <a:schemeClr val="accent4"/>
          </a:solidFill>
        </p:spPr>
        <p:txBody>
          <a:bodyPr lIns="25200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Inhaltsplatzhalter 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70625" y="1341439"/>
            <a:ext cx="4937125" cy="5040312"/>
          </a:xfrm>
          <a:prstGeom prst="rect">
            <a:avLst/>
          </a:prstGeom>
          <a:noFill/>
        </p:spPr>
        <p:txBody>
          <a:bodyPr lIns="0" tIns="144000" rIns="144000" bIns="144000"/>
          <a:lstStyle>
            <a:lvl1pPr marL="0" indent="0">
              <a:lnSpc>
                <a:spcPct val="90000"/>
              </a:lnSpc>
              <a:buFontTx/>
              <a:buNone/>
              <a:defRPr sz="3600">
                <a:solidFill>
                  <a:schemeClr val="accent1"/>
                </a:solidFill>
                <a:latin typeface="+mj-lt"/>
              </a:defRPr>
            </a:lvl1pPr>
            <a:lvl2pPr marL="1588" indent="0">
              <a:lnSpc>
                <a:spcPct val="90000"/>
              </a:lnSpc>
              <a:spcBef>
                <a:spcPts val="1200"/>
              </a:spcBef>
              <a:buNone/>
              <a:defRPr sz="3200">
                <a:solidFill>
                  <a:schemeClr val="accent1"/>
                </a:solidFill>
                <a:latin typeface="+mn-lt"/>
              </a:defRPr>
            </a:lvl2pPr>
            <a:lvl3pPr marL="182563" indent="-179388">
              <a:spcBef>
                <a:spcPts val="1200"/>
              </a:spcBef>
              <a:defRPr/>
            </a:lvl3pPr>
            <a:lvl4pPr marL="358775" indent="-179388">
              <a:spcBef>
                <a:spcPts val="600"/>
              </a:spcBef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Erste Ebene (kleinere Texte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5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506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="" xmlns:a16="http://schemas.microsoft.com/office/drawing/2014/main" id="{8126AB79-CD6F-4DB7-A989-5DD29CC7DB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6858000"/>
          </a:xfrm>
          <a:custGeom>
            <a:avLst/>
            <a:gdLst>
              <a:gd name="connsiteX0" fmla="*/ 10583343 w 12190413"/>
              <a:gd name="connsiteY0" fmla="*/ 262891 h 6858000"/>
              <a:gd name="connsiteX1" fmla="*/ 10496550 w 12190413"/>
              <a:gd name="connsiteY1" fmla="*/ 349684 h 6858000"/>
              <a:gd name="connsiteX2" fmla="*/ 10496550 w 12190413"/>
              <a:gd name="connsiteY2" fmla="*/ 732358 h 6858000"/>
              <a:gd name="connsiteX3" fmla="*/ 10583343 w 12190413"/>
              <a:gd name="connsiteY3" fmla="*/ 819151 h 6858000"/>
              <a:gd name="connsiteX4" fmla="*/ 11827077 w 12190413"/>
              <a:gd name="connsiteY4" fmla="*/ 819151 h 6858000"/>
              <a:gd name="connsiteX5" fmla="*/ 11913870 w 12190413"/>
              <a:gd name="connsiteY5" fmla="*/ 732358 h 6858000"/>
              <a:gd name="connsiteX6" fmla="*/ 11913870 w 12190413"/>
              <a:gd name="connsiteY6" fmla="*/ 349684 h 6858000"/>
              <a:gd name="connsiteX7" fmla="*/ 11827077 w 12190413"/>
              <a:gd name="connsiteY7" fmla="*/ 262891 h 6858000"/>
              <a:gd name="connsiteX8" fmla="*/ 0 w 12190413"/>
              <a:gd name="connsiteY8" fmla="*/ 0 h 6858000"/>
              <a:gd name="connsiteX9" fmla="*/ 12190413 w 12190413"/>
              <a:gd name="connsiteY9" fmla="*/ 0 h 6858000"/>
              <a:gd name="connsiteX10" fmla="*/ 12190413 w 12190413"/>
              <a:gd name="connsiteY10" fmla="*/ 6858000 h 6858000"/>
              <a:gd name="connsiteX11" fmla="*/ 0 w 1219041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6858000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3360751"/>
            <a:ext cx="10225088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50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1/2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6378498" y="3535382"/>
            <a:ext cx="4829252" cy="55403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0"/>
            <a:ext cx="6094412" cy="6858000"/>
          </a:xfrm>
          <a:prstGeom prst="rect">
            <a:avLst/>
          </a:prstGeom>
        </p:spPr>
        <p:txBody>
          <a:bodyPr lIns="108000" tIns="108000"/>
          <a:lstStyle>
            <a:lvl1pPr marL="0" indent="0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 bwMode="gray">
          <a:xfrm>
            <a:off x="301085" y="3360744"/>
            <a:ext cx="550924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ext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658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301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="" xmlns:a16="http://schemas.microsoft.com/office/drawing/2014/main" id="{4CA66F45-25FB-4248-B7AE-CDD2BD524A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0413" cy="3398851"/>
          </a:xfrm>
          <a:custGeom>
            <a:avLst/>
            <a:gdLst>
              <a:gd name="connsiteX0" fmla="*/ 10583343 w 12190413"/>
              <a:gd name="connsiteY0" fmla="*/ 262891 h 3398851"/>
              <a:gd name="connsiteX1" fmla="*/ 10496550 w 12190413"/>
              <a:gd name="connsiteY1" fmla="*/ 349684 h 3398851"/>
              <a:gd name="connsiteX2" fmla="*/ 10496550 w 12190413"/>
              <a:gd name="connsiteY2" fmla="*/ 732358 h 3398851"/>
              <a:gd name="connsiteX3" fmla="*/ 10583343 w 12190413"/>
              <a:gd name="connsiteY3" fmla="*/ 819151 h 3398851"/>
              <a:gd name="connsiteX4" fmla="*/ 11827077 w 12190413"/>
              <a:gd name="connsiteY4" fmla="*/ 819151 h 3398851"/>
              <a:gd name="connsiteX5" fmla="*/ 11913870 w 12190413"/>
              <a:gd name="connsiteY5" fmla="*/ 732358 h 3398851"/>
              <a:gd name="connsiteX6" fmla="*/ 11913870 w 12190413"/>
              <a:gd name="connsiteY6" fmla="*/ 349684 h 3398851"/>
              <a:gd name="connsiteX7" fmla="*/ 11827077 w 12190413"/>
              <a:gd name="connsiteY7" fmla="*/ 262891 h 3398851"/>
              <a:gd name="connsiteX8" fmla="*/ 0 w 12190413"/>
              <a:gd name="connsiteY8" fmla="*/ 0 h 3398851"/>
              <a:gd name="connsiteX9" fmla="*/ 12190413 w 12190413"/>
              <a:gd name="connsiteY9" fmla="*/ 0 h 3398851"/>
              <a:gd name="connsiteX10" fmla="*/ 12190413 w 12190413"/>
              <a:gd name="connsiteY10" fmla="*/ 3398851 h 3398851"/>
              <a:gd name="connsiteX11" fmla="*/ 0 w 12190413"/>
              <a:gd name="connsiteY11" fmla="*/ 3398851 h 3398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0413" h="3398851">
                <a:moveTo>
                  <a:pt x="10583343" y="262891"/>
                </a:moveTo>
                <a:cubicBezTo>
                  <a:pt x="10535409" y="262891"/>
                  <a:pt x="10496550" y="301750"/>
                  <a:pt x="10496550" y="349684"/>
                </a:cubicBezTo>
                <a:lnTo>
                  <a:pt x="10496550" y="732358"/>
                </a:lnTo>
                <a:cubicBezTo>
                  <a:pt x="10496550" y="780292"/>
                  <a:pt x="10535409" y="819151"/>
                  <a:pt x="10583343" y="819151"/>
                </a:cubicBezTo>
                <a:lnTo>
                  <a:pt x="11827077" y="819151"/>
                </a:lnTo>
                <a:cubicBezTo>
                  <a:pt x="11875011" y="819151"/>
                  <a:pt x="11913870" y="780292"/>
                  <a:pt x="11913870" y="732358"/>
                </a:cubicBezTo>
                <a:lnTo>
                  <a:pt x="11913870" y="349684"/>
                </a:lnTo>
                <a:cubicBezTo>
                  <a:pt x="11913870" y="301750"/>
                  <a:pt x="11875011" y="262891"/>
                  <a:pt x="11827077" y="262891"/>
                </a:cubicBezTo>
                <a:close/>
                <a:moveTo>
                  <a:pt x="0" y="0"/>
                </a:moveTo>
                <a:lnTo>
                  <a:pt x="12190413" y="0"/>
                </a:lnTo>
                <a:lnTo>
                  <a:pt x="12190413" y="3398851"/>
                </a:lnTo>
                <a:lnTo>
                  <a:pt x="0" y="3398851"/>
                </a:lnTo>
                <a:close/>
              </a:path>
            </a:pathLst>
          </a:custGeom>
        </p:spPr>
        <p:txBody>
          <a:bodyPr wrap="square" lIns="108000" tIns="108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2663" y="1468993"/>
            <a:ext cx="10225087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982663" y="3695700"/>
            <a:ext cx="10225087" cy="134498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30000"/>
              </a:lnSpc>
              <a:buNone/>
              <a:defRPr/>
            </a:lvl1pPr>
            <a:lvl2pPr marL="179388" indent="-179388">
              <a:lnSpc>
                <a:spcPct val="100000"/>
              </a:lnSpc>
              <a:defRPr/>
            </a:lvl2pPr>
            <a:lvl3pPr marL="361950" indent="-179388">
              <a:lnSpc>
                <a:spcPct val="100000"/>
              </a:lnSpc>
              <a:defRPr/>
            </a:lvl3pPr>
            <a:lvl4pPr marL="539750" indent="-179388">
              <a:lnSpc>
                <a:spcPct val="100000"/>
              </a:lnSpc>
              <a:defRPr/>
            </a:lvl4pPr>
            <a:lvl5pPr>
              <a:lnSpc>
                <a:spcPct val="13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4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76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058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41438"/>
            <a:ext cx="12190412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84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with backgrou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818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92" y="1341439"/>
            <a:ext cx="12191209" cy="504031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0" hasCustomPrompt="1"/>
          </p:nvPr>
        </p:nvSpPr>
        <p:spPr bwMode="gray">
          <a:xfrm>
            <a:off x="981076" y="1613422"/>
            <a:ext cx="7670800" cy="44963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oder Inhalt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45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144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924"/>
            <a:ext cx="12190413" cy="68541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78067" y="1620653"/>
            <a:ext cx="7137633" cy="1015663"/>
          </a:xfrm>
        </p:spPr>
        <p:txBody>
          <a:bodyPr anchor="b"/>
          <a:lstStyle>
            <a:lvl1pPr algn="l"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216166" y="3041034"/>
            <a:ext cx="4704809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4216166" y="3587442"/>
            <a:ext cx="4704809" cy="1184940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67799" y="175301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1600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46"/>
            <a:ext cx="12191209" cy="68575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981075" y="2894572"/>
            <a:ext cx="10226675" cy="664797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1075" y="3682691"/>
            <a:ext cx="1022667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67799" y="175301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20084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180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25475" y="913504"/>
            <a:ext cx="10226675" cy="1015663"/>
          </a:xfrm>
        </p:spPr>
        <p:txBody>
          <a:bodyPr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499408" y="3473142"/>
            <a:ext cx="3048000" cy="2667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180612" indent="0">
              <a:buFontTx/>
              <a:buNone/>
              <a:defRPr sz="1600"/>
            </a:lvl2pPr>
            <a:lvl3pPr marL="360000" indent="0">
              <a:buFontTx/>
              <a:buNone/>
              <a:defRPr sz="1600"/>
            </a:lvl3pPr>
            <a:lvl4pPr marL="540612" indent="0">
              <a:buFontTx/>
              <a:buNone/>
              <a:defRPr sz="1600"/>
            </a:lvl4pPr>
            <a:lvl5pPr marL="268288" indent="0">
              <a:buFontTx/>
              <a:buNone/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5499408" y="4019550"/>
            <a:ext cx="3048000" cy="118494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1pPr>
            <a:lvl2pPr marL="18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2pPr>
            <a:lvl3pPr marL="360000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3pPr>
            <a:lvl4pPr marL="540612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4pPr>
            <a:lvl5pPr marL="268288" indent="0">
              <a:lnSpc>
                <a:spcPct val="1100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67799" y="175301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80620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_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81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4"/>
            <a:ext cx="12193838" cy="685607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981869" y="2252096"/>
            <a:ext cx="10226675" cy="1015663"/>
          </a:xfrm>
        </p:spPr>
        <p:txBody>
          <a:bodyPr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667799" y="175301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09464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05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8175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 dirty="0"/>
              <a:t>Präsentationskennung - über EINFÜGEN in KOPF- UND FUSSZEILE eintragen</a:t>
            </a:r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904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325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5" b="15349"/>
          <a:stretch/>
        </p:blipFill>
        <p:spPr>
          <a:xfrm>
            <a:off x="0" y="0"/>
            <a:ext cx="12195590" cy="637839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 dirty="0"/>
              <a:t>Präsentationskennung - über EINFÜGEN in KOPF- UND FUSSZEILE eintragen</a:t>
            </a:r>
          </a:p>
        </p:txBody>
      </p:sp>
      <p:sp>
        <p:nvSpPr>
          <p:cNvPr id="9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944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77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6419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 dirty="0"/>
              <a:t>Präsentationskennung - über EINFÜGEN in KOPF- UND FUSSZEILE eintragen</a:t>
            </a:r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39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000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0413" cy="6379826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2352905" y="2546295"/>
            <a:ext cx="8854845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2" name="Ellipse 11"/>
          <p:cNvSpPr/>
          <p:nvPr userDrawn="1"/>
        </p:nvSpPr>
        <p:spPr bwMode="gray">
          <a:xfrm>
            <a:off x="981074" y="2374604"/>
            <a:ext cx="1014993" cy="1014993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108000" tIns="72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de-D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17902" y="2529101"/>
            <a:ext cx="550862" cy="6284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3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625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806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0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257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59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981075" y="1341438"/>
            <a:ext cx="766921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2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97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830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1075" y="1341439"/>
            <a:ext cx="7669213" cy="50403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defRPr baseline="0"/>
            </a:lvl3pPr>
            <a:lvl5pPr>
              <a:defRPr/>
            </a:lvl5pPr>
          </a:lstStyle>
          <a:p>
            <a:pPr lvl="0"/>
            <a:r>
              <a:rPr lang="de-DE" noProof="0" dirty="0"/>
              <a:t>Erste Ebene (Einrückungen über &gt;Listenebene erhöhen&lt;)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/>
              <a:t>Präsentationskennung - über EINFÜGEN in KOPF- UND FUSSZEILE eintragen</a:t>
            </a:r>
            <a:endParaRPr lang="de-DE" dirty="0"/>
          </a:p>
        </p:txBody>
      </p:sp>
      <p:sp>
        <p:nvSpPr>
          <p:cNvPr id="11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688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55416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981075" y="356672"/>
            <a:ext cx="766921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cxnSp>
        <p:nvCxnSpPr>
          <p:cNvPr id="14" name="Gerade Verbindung 13"/>
          <p:cNvCxnSpPr/>
          <p:nvPr/>
        </p:nvCxnSpPr>
        <p:spPr bwMode="gray">
          <a:xfrm flipH="1">
            <a:off x="-284979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flipH="1">
            <a:off x="-284979" y="6369894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shpGrid" hidden="1"/>
          <p:cNvGrpSpPr/>
          <p:nvPr/>
        </p:nvGrpSpPr>
        <p:grpSpPr bwMode="gray">
          <a:xfrm>
            <a:off x="0" y="0"/>
            <a:ext cx="12190413" cy="6858000"/>
            <a:chOff x="0" y="0"/>
            <a:chExt cx="9906000" cy="6858000"/>
          </a:xfrm>
        </p:grpSpPr>
        <p:sp>
          <p:nvSpPr>
            <p:cNvPr id="25" name="Line 31" hidden="1"/>
            <p:cNvSpPr>
              <a:spLocks noChangeShapeType="1"/>
            </p:cNvSpPr>
            <p:nvPr userDrawn="1"/>
          </p:nvSpPr>
          <p:spPr bwMode="gray">
            <a:xfrm>
              <a:off x="4889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6" name="Line 32" hidden="1"/>
            <p:cNvSpPr>
              <a:spLocks noChangeShapeType="1"/>
            </p:cNvSpPr>
            <p:nvPr userDrawn="1"/>
          </p:nvSpPr>
          <p:spPr bwMode="gray">
            <a:xfrm>
              <a:off x="0" y="6093296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8" name="Line 34" hidden="1"/>
            <p:cNvSpPr>
              <a:spLocks noChangeShapeType="1"/>
            </p:cNvSpPr>
            <p:nvPr userDrawn="1"/>
          </p:nvSpPr>
          <p:spPr bwMode="gray">
            <a:xfrm>
              <a:off x="0" y="162880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9" name="Line 35" hidden="1"/>
            <p:cNvSpPr>
              <a:spLocks noChangeShapeType="1"/>
            </p:cNvSpPr>
            <p:nvPr userDrawn="1"/>
          </p:nvSpPr>
          <p:spPr bwMode="gray">
            <a:xfrm>
              <a:off x="9417050" y="0"/>
              <a:ext cx="0" cy="685800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  <p:sp>
          <p:nvSpPr>
            <p:cNvPr id="23" name="Line 34" hidden="1"/>
            <p:cNvSpPr>
              <a:spLocks noChangeShapeType="1"/>
            </p:cNvSpPr>
            <p:nvPr userDrawn="1"/>
          </p:nvSpPr>
          <p:spPr bwMode="gray">
            <a:xfrm>
              <a:off x="0" y="1268760"/>
              <a:ext cx="9906000" cy="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tIns="54000" rIns="54000" bIns="54000"/>
            <a:lstStyle/>
            <a:p>
              <a:endParaRPr lang="en-US" noProof="0"/>
            </a:p>
          </p:txBody>
        </p:sp>
      </p:grpSp>
      <p:grpSp>
        <p:nvGrpSpPr>
          <p:cNvPr id="12" name="Gruppieren 11"/>
          <p:cNvGrpSpPr/>
          <p:nvPr/>
        </p:nvGrpSpPr>
        <p:grpSpPr bwMode="gray">
          <a:xfrm>
            <a:off x="981075" y="-243408"/>
            <a:ext cx="10226675" cy="159568"/>
            <a:chOff x="981075" y="-243408"/>
            <a:chExt cx="10226675" cy="159568"/>
          </a:xfrm>
        </p:grpSpPr>
        <p:cxnSp>
          <p:nvCxnSpPr>
            <p:cNvPr id="18" name="Gerade Verbindung 17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/>
          <p:cNvGrpSpPr/>
          <p:nvPr/>
        </p:nvGrpSpPr>
        <p:grpSpPr bwMode="gray">
          <a:xfrm>
            <a:off x="981075" y="6930278"/>
            <a:ext cx="10226675" cy="159568"/>
            <a:chOff x="981075" y="-243408"/>
            <a:chExt cx="10226675" cy="159568"/>
          </a:xfrm>
        </p:grpSpPr>
        <p:cxnSp>
          <p:nvCxnSpPr>
            <p:cNvPr id="46" name="Gerade Verbindung 45"/>
            <p:cNvCxnSpPr/>
            <p:nvPr userDrawn="1"/>
          </p:nvCxnSpPr>
          <p:spPr bwMode="gray">
            <a:xfrm rot="16200000" flipH="1">
              <a:off x="11127966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16200000" flipH="1">
              <a:off x="901291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16200000" flipH="1">
              <a:off x="3458754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16200000" flipH="1">
              <a:off x="601462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16200000" flipH="1">
              <a:off x="8554049" y="-163624"/>
              <a:ext cx="15956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Gerade Verbindung 50"/>
          <p:cNvCxnSpPr/>
          <p:nvPr/>
        </p:nvCxnSpPr>
        <p:spPr bwMode="gray">
          <a:xfrm flipH="1">
            <a:off x="12304748" y="1341438"/>
            <a:ext cx="1963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5282" y="300832"/>
            <a:ext cx="1344936" cy="481012"/>
          </a:xfrm>
          <a:prstGeom prst="roundRect">
            <a:avLst>
              <a:gd name="adj" fmla="val 11650"/>
            </a:avLst>
          </a:prstGeom>
          <a:ln w="38100">
            <a:solidFill>
              <a:schemeClr val="bg1"/>
            </a:solidFill>
          </a:ln>
        </p:spPr>
      </p:pic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863855" y="6591775"/>
            <a:ext cx="269304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Open Sans"/>
                <a:sym typeface="Open Sans"/>
              </a:defRPr>
            </a:lvl1pPr>
          </a:lstStyle>
          <a:p>
            <a:r>
              <a:rPr lang="de-DE" dirty="0"/>
              <a:t>Präsentationskennung - über EINFÜGEN in KOPF- UND FUSSZEILE eintragen</a:t>
            </a:r>
          </a:p>
        </p:txBody>
      </p:sp>
      <p:sp>
        <p:nvSpPr>
          <p:cNvPr id="36" name="Foliennummernplatzhalter 53"/>
          <p:cNvSpPr>
            <a:spLocks noGrp="1"/>
          </p:cNvSpPr>
          <p:nvPr>
            <p:ph type="sldNum" sz="quarter" idx="4"/>
          </p:nvPr>
        </p:nvSpPr>
        <p:spPr bwMode="gray">
          <a:xfrm>
            <a:off x="11545191" y="6517302"/>
            <a:ext cx="31258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2B76A6F7-0816-412C-B847-14B91D1FF33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gray">
          <a:xfrm>
            <a:off x="981077" y="1341438"/>
            <a:ext cx="7669212" cy="5040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3197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5" r:id="rId3"/>
    <p:sldLayoutId id="2147483674" r:id="rId4"/>
    <p:sldLayoutId id="2147483664" r:id="rId5"/>
    <p:sldLayoutId id="2147483676" r:id="rId6"/>
    <p:sldLayoutId id="2147483653" r:id="rId7"/>
    <p:sldLayoutId id="2147483670" r:id="rId8"/>
    <p:sldLayoutId id="2147483665" r:id="rId9"/>
    <p:sldLayoutId id="2147483667" r:id="rId10"/>
    <p:sldLayoutId id="2147483650" r:id="rId11"/>
    <p:sldLayoutId id="2147483655" r:id="rId12"/>
    <p:sldLayoutId id="2147483661" r:id="rId13"/>
    <p:sldLayoutId id="2147483671" r:id="rId14"/>
    <p:sldLayoutId id="2147483668" r:id="rId15"/>
    <p:sldLayoutId id="2147483669" r:id="rId16"/>
    <p:sldLayoutId id="2147483677" r:id="rId17"/>
    <p:sldLayoutId id="2147483678" r:id="rId18"/>
    <p:sldLayoutId id="2147483679" r:id="rId19"/>
    <p:sldLayoutId id="2147483659" r:id="rId20"/>
    <p:sldLayoutId id="2147483680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rgbClr val="0046AA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360000" indent="-179388" algn="l" defTabSz="914400" rtl="0" eaLnBrk="1" latinLnBrk="0" hangingPunct="1">
        <a:spcBef>
          <a:spcPts val="600"/>
        </a:spcBef>
        <a:buClr>
          <a:schemeClr val="tx1"/>
        </a:buClr>
        <a:buFont typeface="Arial" pitchFamily="34" charset="0"/>
        <a:buChar char="•"/>
        <a:defRPr lang="de-DE" sz="1800" kern="120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720000" indent="-179388" algn="l" defTabSz="9144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lang="de-DE" sz="1800" kern="1200" baseline="0" noProof="0" dirty="0" smtClean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534988" indent="-266700" algn="l" defTabSz="812800" rtl="0" eaLnBrk="1" latinLnBrk="0" hangingPunct="1"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845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229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5450" userDrawn="1">
          <p15:clr>
            <a:srgbClr val="A4A3A4"/>
          </p15:clr>
        </p15:guide>
        <p15:guide id="7" pos="70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PLACES FRONTEND / DASHBOARD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>
          <a:xfrm>
            <a:off x="9498013" y="6591300"/>
            <a:ext cx="2692400" cy="92075"/>
          </a:xfrm>
        </p:spPr>
        <p:txBody>
          <a:bodyPr/>
          <a:lstStyle/>
          <a:p>
            <a:r>
              <a:rPr lang="de-DE" smtClean="0"/>
              <a:t>Präsentationskennung - über EINFÜGEN in KOPF- UND FUSSZEILE eint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11879263" y="6516688"/>
            <a:ext cx="311150" cy="185737"/>
          </a:xfrm>
        </p:spPr>
        <p:txBody>
          <a:bodyPr/>
          <a:lstStyle/>
          <a:p>
            <a:fld id="{2B76A6F7-0816-412C-B847-14B91D1FF33F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935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48497" y="1128584"/>
            <a:ext cx="10527957" cy="52557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 smtClean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Einstieg (nach Login)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Präsentationskennung - über EINFÜGEN in KOPF- UND FUSSZEILE eint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145059" y="1411115"/>
            <a:ext cx="10812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SHBOAR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145059" y="2027668"/>
            <a:ext cx="6608027" cy="2800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zahl Places im System: 23.567</a:t>
            </a:r>
          </a:p>
          <a:p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zter ORG Import: ARAL, 19.06.2020 – 13:45 Uhr (700 Filialen)</a:t>
            </a:r>
          </a:p>
          <a:p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zter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A Import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POT, 18.06.2020 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0:45 Uhr (457 Filialen)</a:t>
            </a:r>
          </a:p>
          <a:p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zter PAU Durchlauf: dm, 17.06.2020 – 23:21 Uhr (1.498 Filialen)</a:t>
            </a:r>
          </a:p>
          <a:p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tzter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OCODING Durchlauf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natura, 16.06.2020 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3:11 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hr (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230 </a:t>
            </a:r>
            <a:r>
              <a:rPr lang="de-DE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ialen</a:t>
            </a:r>
            <a:r>
              <a:rPr lang="de-DE" sz="14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  <a:p>
            <a:endParaRPr lang="de-DE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de-DE" sz="14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 Importer Logs (last 500 lines)</a:t>
            </a:r>
          </a:p>
          <a:p>
            <a:r>
              <a:rPr lang="de-DE" sz="14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A </a:t>
            </a:r>
            <a:r>
              <a:rPr lang="de-DE" sz="1400" u="sng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orter Logs (last 500 lines)</a:t>
            </a:r>
          </a:p>
          <a:p>
            <a:r>
              <a:rPr lang="de-DE" sz="14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U </a:t>
            </a:r>
            <a:r>
              <a:rPr lang="de-DE" sz="1400" u="sng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orter Logs (last 500 lines)</a:t>
            </a:r>
          </a:p>
          <a:p>
            <a:r>
              <a:rPr lang="de-DE" sz="14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OCODING </a:t>
            </a:r>
            <a:r>
              <a:rPr lang="de-DE" sz="1400" u="sng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orter Logs (last 500 lines)</a:t>
            </a:r>
          </a:p>
          <a:p>
            <a:endParaRPr lang="de-DE" sz="1400" u="sng">
              <a:solidFill>
                <a:schemeClr val="accen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de-DE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de-DE" sz="1400" dirty="0" err="1" smtClea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45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48497" y="1128584"/>
            <a:ext cx="10527957" cy="52557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 smtClean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artner Auswahl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Präsentationskennung - über EINFÜGEN in KOPF- UND FUSSZEILE eint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079636"/>
              </p:ext>
            </p:extLst>
          </p:nvPr>
        </p:nvGraphicFramePr>
        <p:xfrm>
          <a:off x="1145060" y="1411115"/>
          <a:ext cx="8303740" cy="2966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09531"/>
                <a:gridCol w="767766"/>
                <a:gridCol w="1548713"/>
                <a:gridCol w="1787611"/>
                <a:gridCol w="2290119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Partner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ID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Anzahl Filialen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Letzter Import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Letzter PAU Export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Alnatura</a:t>
                      </a:r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387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1.873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19.06.2020 (ORG)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20.06.2020</a:t>
                      </a:r>
                      <a:r>
                        <a:rPr lang="de-DE" baseline="0" smtClean="0"/>
                        <a:t>  23:45 Uhr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ewe</a:t>
                      </a:r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m</a:t>
                      </a:r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…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hteck 8"/>
          <p:cNvSpPr/>
          <p:nvPr/>
        </p:nvSpPr>
        <p:spPr>
          <a:xfrm>
            <a:off x="9392957" y="1738980"/>
            <a:ext cx="20393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 all import/export timestamps</a:t>
            </a:r>
          </a:p>
          <a:p>
            <a:r>
              <a:rPr lang="de-DE" sz="10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 errors</a:t>
            </a:r>
            <a:endParaRPr lang="de-DE" sz="1000" dirty="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749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48497" y="1128584"/>
            <a:ext cx="10527957" cy="52557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 smtClean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artner Ansich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Präsentationskennung - über EINFÜGEN in KOPF- UND FUSSZEILE eint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4</a:t>
            </a:fld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239827"/>
              </p:ext>
            </p:extLst>
          </p:nvPr>
        </p:nvGraphicFramePr>
        <p:xfrm>
          <a:off x="1145060" y="1839483"/>
          <a:ext cx="8303739" cy="2966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74123"/>
                <a:gridCol w="1174123"/>
                <a:gridCol w="1471191"/>
                <a:gridCol w="983151"/>
                <a:gridCol w="1534848"/>
                <a:gridCol w="1966303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Aktion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Place ID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Partner</a:t>
                      </a:r>
                      <a:r>
                        <a:rPr lang="de-DE" baseline="0" smtClean="0"/>
                        <a:t> ID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Branch ID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Street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PLZ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1"/>
                          </a:solidFill>
                        </a:rPr>
                        <a:t>Update</a:t>
                      </a:r>
                      <a:endParaRPr lang="de-DE" u="sng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none" smtClean="0">
                          <a:solidFill>
                            <a:schemeClr val="tx1"/>
                          </a:solidFill>
                        </a:rPr>
                        <a:t>3.740</a:t>
                      </a:r>
                      <a:endParaRPr lang="de-DE" u="none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387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9001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Wintgenweg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24853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…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9555757" y="2290119"/>
            <a:ext cx="17137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. all place infos from db</a:t>
            </a:r>
            <a:endParaRPr lang="de-DE" sz="1200" dirty="0" err="1" smtClea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145060" y="1320158"/>
            <a:ext cx="2176878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natura </a:t>
            </a:r>
          </a:p>
          <a:p>
            <a:r>
              <a:rPr lang="de-DE" sz="11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new Place | Export as CSV</a:t>
            </a:r>
            <a:endParaRPr lang="de-DE" sz="1100" u="sng" dirty="0" err="1" smtClean="0">
              <a:solidFill>
                <a:schemeClr val="accen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525823" y="1387508"/>
            <a:ext cx="1524000" cy="2729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i="1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arch Filter</a:t>
            </a:r>
            <a:endParaRPr lang="de-DE" sz="1200" i="1" dirty="0" err="1" smtClean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525" y="1347812"/>
            <a:ext cx="380274" cy="35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44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48497" y="1128584"/>
            <a:ext cx="10527957" cy="52557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 smtClean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lace Ansich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Präsentationskennung - über EINFÜGEN in KOPF- UND FUSSZEILE eint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B76A6F7-0816-412C-B847-14B91D1FF33F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0419884"/>
              </p:ext>
            </p:extLst>
          </p:nvPr>
        </p:nvGraphicFramePr>
        <p:xfrm>
          <a:off x="1145059" y="1839483"/>
          <a:ext cx="8229599" cy="28651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28988"/>
                <a:gridCol w="1428988"/>
                <a:gridCol w="1790541"/>
                <a:gridCol w="1790541"/>
                <a:gridCol w="1790541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Key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Value Consolidated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ORG</a:t>
                      </a:r>
                      <a:r>
                        <a:rPr lang="de-DE" baseline="0" smtClean="0"/>
                        <a:t> Value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BRA Value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Frontend</a:t>
                      </a:r>
                      <a:r>
                        <a:rPr lang="de-DE" baseline="0" smtClean="0"/>
                        <a:t> Value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Street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Wintgenweg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1"/>
                          </a:solidFill>
                        </a:rPr>
                        <a:t>Wintgenweg</a:t>
                      </a:r>
                      <a:r>
                        <a:rPr lang="de-DE" u="sng" baseline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endParaRPr lang="de-DE" u="sng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1"/>
                          </a:solidFill>
                        </a:rPr>
                        <a:t>Blablastraße</a:t>
                      </a:r>
                      <a:endParaRPr lang="de-DE" u="sng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 [</a:t>
                      </a:r>
                      <a:r>
                        <a:rPr lang="de-DE" u="sng" strike="noStrike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Update</a:t>
                      </a:r>
                      <a:r>
                        <a:rPr lang="de-DE" smtClean="0"/>
                        <a:t>]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PLZ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3456</a:t>
                      </a:r>
                      <a:endParaRPr lang="de-DE" u="sng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u="sng" smtClean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u="sng" smtClean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mtClean="0"/>
                        <a:t> [</a:t>
                      </a:r>
                      <a:r>
                        <a:rPr lang="de-DE" u="sng" strike="noStrike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Update</a:t>
                      </a:r>
                      <a:r>
                        <a:rPr lang="de-DE" smtClean="0"/>
                        <a:t>]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…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 [</a:t>
                      </a:r>
                      <a:r>
                        <a:rPr lang="de-DE" u="sng" strike="noStrike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Update</a:t>
                      </a:r>
                      <a:r>
                        <a:rPr lang="de-DE" smtClean="0"/>
                        <a:t>]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mtClean="0"/>
                        <a:t>Lat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7.453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7.453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8.453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mtClean="0"/>
                        <a:t>7.45346 [</a:t>
                      </a:r>
                      <a:r>
                        <a:rPr lang="de-DE" u="sng" strike="noStrike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Update</a:t>
                      </a:r>
                      <a:r>
                        <a:rPr lang="de-DE" smtClean="0"/>
                        <a:t>]</a:t>
                      </a:r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145060" y="1320158"/>
            <a:ext cx="4507837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 ID: </a:t>
            </a:r>
            <a:r>
              <a:rPr lang="de-DE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358 (Partner: alnatura – ID 387)</a:t>
            </a:r>
            <a:endParaRPr lang="de-DE" smtClea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de-DE" sz="1100" u="sng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ete</a:t>
            </a:r>
            <a:endParaRPr lang="de-DE" sz="1100" u="sng" dirty="0" err="1" smtClean="0">
              <a:solidFill>
                <a:schemeClr val="accen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04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B_master_2018_D">
  <a:themeElements>
    <a:clrScheme name="PAYBACK Colors 2018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E5ECF6"/>
      </a:accent4>
      <a:accent5>
        <a:srgbClr val="C1002B"/>
      </a:accent5>
      <a:accent6>
        <a:srgbClr val="7AB51D"/>
      </a:accent6>
      <a:hlink>
        <a:srgbClr val="151515"/>
      </a:hlink>
      <a:folHlink>
        <a:srgbClr val="4B4B4D"/>
      </a:folHlink>
    </a:clrScheme>
    <a:fontScheme name="PAYBACK">
      <a:majorFont>
        <a:latin typeface="PAYBACK"/>
        <a:ea typeface=""/>
        <a:cs typeface=""/>
      </a:majorFont>
      <a:minorFont>
        <a:latin typeface="PAYBACK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3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custClrLst>
    <a:custClr name="Payback Yellow">
      <a:srgbClr val="FFDD00"/>
    </a:custClr>
    <a:custClr name="Payback Gold">
      <a:srgbClr val="CAA02A"/>
    </a:custClr>
  </a:custClrLst>
  <a:extLst>
    <a:ext uri="{05A4C25C-085E-4340-85A3-A5531E510DB2}">
      <thm15:themeFamily xmlns:thm15="http://schemas.microsoft.com/office/thememl/2012/main" name="PB_Template_D" id="{04E1349C-B92B-4135-86FC-99C900D92BC7}" vid="{5B683B72-80C9-47E6-B449-9054C36B3864}"/>
    </a:ext>
  </a:extLst>
</a:theme>
</file>

<file path=ppt/theme/theme2.xml><?xml version="1.0" encoding="utf-8"?>
<a:theme xmlns:a="http://schemas.openxmlformats.org/drawingml/2006/main" name="Larissa">
  <a:themeElements>
    <a:clrScheme name="PAYBACK NEU_4">
      <a:dk1>
        <a:srgbClr val="4B4B4D"/>
      </a:dk1>
      <a:lt1>
        <a:srgbClr val="FFFFFF"/>
      </a:lt1>
      <a:dk2>
        <a:srgbClr val="A5A5A6"/>
      </a:dk2>
      <a:lt2>
        <a:srgbClr val="D2D2D2"/>
      </a:lt2>
      <a:accent1>
        <a:srgbClr val="0046AA"/>
      </a:accent1>
      <a:accent2>
        <a:srgbClr val="7FA2D4"/>
      </a:accent2>
      <a:accent3>
        <a:srgbClr val="BFD1E9"/>
      </a:accent3>
      <a:accent4>
        <a:srgbClr val="C1002B"/>
      </a:accent4>
      <a:accent5>
        <a:srgbClr val="7AB51D"/>
      </a:accent5>
      <a:accent6>
        <a:srgbClr val="FFDD00"/>
      </a:accent6>
      <a:hlink>
        <a:srgbClr val="151515"/>
      </a:hlink>
      <a:folHlink>
        <a:srgbClr val="4B4B4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B_Template_D</Template>
  <TotalTime>0</TotalTime>
  <Words>269</Words>
  <Application>Microsoft Office PowerPoint</Application>
  <PresentationFormat>Benutzerdefiniert</PresentationFormat>
  <Paragraphs>81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PAYBACK Light</vt:lpstr>
      <vt:lpstr>PAYBACK</vt:lpstr>
      <vt:lpstr>Arial</vt:lpstr>
      <vt:lpstr>Open Sans</vt:lpstr>
      <vt:lpstr>PB_master_2018_D</vt:lpstr>
      <vt:lpstr>think-cell Folie</vt:lpstr>
      <vt:lpstr>PLACES FRONTEND / DASHBOARD</vt:lpstr>
      <vt:lpstr>Einstieg (nach Login)</vt:lpstr>
      <vt:lpstr>Partner Auswahl</vt:lpstr>
      <vt:lpstr>Partner Ansicht</vt:lpstr>
      <vt:lpstr>Place Ansicht</vt:lpstr>
    </vt:vector>
  </TitlesOfParts>
  <Company>PAYBACK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Timm Kawohl</dc:creator>
  <cp:lastModifiedBy>Timm Kawohl</cp:lastModifiedBy>
  <cp:revision>29</cp:revision>
  <cp:lastPrinted>2017-12-21T16:10:56Z</cp:lastPrinted>
  <dcterms:created xsi:type="dcterms:W3CDTF">2019-03-27T15:45:55Z</dcterms:created>
  <dcterms:modified xsi:type="dcterms:W3CDTF">2020-07-01T09:2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Btmpl102017">
    <vt:bool>true</vt:bool>
  </property>
</Properties>
</file>